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6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7F1FC-A51D-DE9A-A85C-F7263FD68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ADEBCB50-7C3F-AC3D-A279-0667BC9A5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3-Phase chevron breakdow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4E3382D-19C9-0C82-1136-2CDCFA17324E}"/>
              </a:ext>
            </a:extLst>
          </p:cNvPr>
          <p:cNvSpPr/>
          <p:nvPr/>
        </p:nvSpPr>
        <p:spPr>
          <a:xfrm>
            <a:off x="722562" y="2857500"/>
            <a:ext cx="5384324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ec blandit feugiat ligula. Donec hendrerit, felis et imperdiet euismod, purus ipsum pretium metus, in lacinia nulla nisl eget sapien. Donec ut est in lectus consequat consequat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iam eget dui. Aliquam erat volutpat. Sed at lorem in nunc porta tristique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D33F130-9B59-1231-07DD-6DD6ADBE1BD3}"/>
              </a:ext>
            </a:extLst>
          </p:cNvPr>
          <p:cNvSpPr/>
          <p:nvPr/>
        </p:nvSpPr>
        <p:spPr>
          <a:xfrm>
            <a:off x="6209949" y="2857500"/>
            <a:ext cx="5384324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ec blandit feugiat ligula. Donec hendrerit, felis et imperdiet euismod, purus ipsum pretium metus, in lacinia nulla nisl eget sapien. Donec ut est in lectus consequat consequat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iam eget dui. Aliquam erat volutpat. Sed at lorem in nunc porta tristique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FCD549A-8445-8F39-D5A6-3841ABC438F5}"/>
              </a:ext>
            </a:extLst>
          </p:cNvPr>
          <p:cNvSpPr/>
          <p:nvPr/>
        </p:nvSpPr>
        <p:spPr>
          <a:xfrm>
            <a:off x="11697336" y="2857500"/>
            <a:ext cx="5384324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ec blandit feugiat ligula. Donec hendrerit, felis et imperdiet euismod, purus ipsum pretium metus, in lacinia nulla nisl eget sapien. Donec ut est in lectus consequat consequat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iam eget dui. Aliquam erat volutpat. Sed at lorem in nunc porta tristique.</a:t>
            </a: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215778BB-37EB-6FE5-8FEA-E57DABD17D24}"/>
              </a:ext>
            </a:extLst>
          </p:cNvPr>
          <p:cNvSpPr/>
          <p:nvPr/>
        </p:nvSpPr>
        <p:spPr>
          <a:xfrm>
            <a:off x="701676" y="1889656"/>
            <a:ext cx="5863589" cy="88582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975E4068-45D2-B5C7-E40D-31A34A752CCD}"/>
              </a:ext>
            </a:extLst>
          </p:cNvPr>
          <p:cNvSpPr/>
          <p:nvPr/>
        </p:nvSpPr>
        <p:spPr>
          <a:xfrm>
            <a:off x="6199506" y="1889656"/>
            <a:ext cx="5863589" cy="88582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0AF07BAB-3310-3723-1D90-E2FBCCF2317B}"/>
              </a:ext>
            </a:extLst>
          </p:cNvPr>
          <p:cNvSpPr/>
          <p:nvPr/>
        </p:nvSpPr>
        <p:spPr>
          <a:xfrm>
            <a:off x="11697336" y="1889656"/>
            <a:ext cx="5863589" cy="88582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D69EFFB-134D-D470-227C-F4D3D6C49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579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4</TotalTime>
  <Words>526</Words>
  <Application>Microsoft Office PowerPoint</Application>
  <PresentationFormat>Custom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3-Phase chevron breakdow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23</cp:revision>
  <dcterms:created xsi:type="dcterms:W3CDTF">2006-08-16T00:00:00Z</dcterms:created>
  <dcterms:modified xsi:type="dcterms:W3CDTF">2025-10-06T09:17:52Z</dcterms:modified>
  <cp:category/>
  <dc:identifier>DAGkDf5R9EM</dc:identifier>
</cp:coreProperties>
</file>